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D$2:$D$247</c:f>
              <c:numCache>
                <c:formatCode>#,##0</c:formatCode>
                <c:ptCount val="24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1</c:v>
                </c:pt>
                <c:pt idx="199">
                  <c:v>942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8</c:v>
                </c:pt>
                <c:pt idx="234">
                  <c:v>401</c:v>
                </c:pt>
                <c:pt idx="235">
                  <c:v>377</c:v>
                </c:pt>
                <c:pt idx="236">
                  <c:v>371</c:v>
                </c:pt>
                <c:pt idx="237">
                  <c:v>361</c:v>
                </c:pt>
                <c:pt idx="238">
                  <c:v>358</c:v>
                </c:pt>
                <c:pt idx="239">
                  <c:v>333</c:v>
                </c:pt>
                <c:pt idx="240">
                  <c:v>299</c:v>
                </c:pt>
                <c:pt idx="241">
                  <c:v>271</c:v>
                </c:pt>
                <c:pt idx="242">
                  <c:v>258</c:v>
                </c:pt>
                <c:pt idx="243" formatCode="General">
                  <c:v>263</c:v>
                </c:pt>
                <c:pt idx="244" formatCode="General">
                  <c:v>264</c:v>
                </c:pt>
                <c:pt idx="245" formatCode="General">
                  <c:v>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61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B$2:$B$247</c:f>
              <c:numCache>
                <c:formatCode>#,##0</c:formatCode>
                <c:ptCount val="24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C$2:$C$247</c:f>
              <c:numCache>
                <c:formatCode>#,##0</c:formatCode>
                <c:ptCount val="24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D$2:$D$247</c:f>
              <c:numCache>
                <c:formatCode>#,##0</c:formatCode>
                <c:ptCount val="24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2</c:v>
                </c:pt>
                <c:pt idx="140">
                  <c:v>2640</c:v>
                </c:pt>
                <c:pt idx="141">
                  <c:v>2595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7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8</c:v>
                </c:pt>
                <c:pt idx="234">
                  <c:v>1426</c:v>
                </c:pt>
                <c:pt idx="235">
                  <c:v>1358</c:v>
                </c:pt>
                <c:pt idx="236">
                  <c:v>1357</c:v>
                </c:pt>
                <c:pt idx="237">
                  <c:v>1307</c:v>
                </c:pt>
                <c:pt idx="238">
                  <c:v>1283</c:v>
                </c:pt>
                <c:pt idx="239">
                  <c:v>1242</c:v>
                </c:pt>
                <c:pt idx="240">
                  <c:v>1189</c:v>
                </c:pt>
                <c:pt idx="241">
                  <c:v>1140</c:v>
                </c:pt>
                <c:pt idx="242">
                  <c:v>1148</c:v>
                </c:pt>
                <c:pt idx="243">
                  <c:v>1137</c:v>
                </c:pt>
                <c:pt idx="244">
                  <c:v>1131</c:v>
                </c:pt>
                <c:pt idx="245">
                  <c:v>1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6.735856822203083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48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B$2:$B$247</c:f>
              <c:numCache>
                <c:formatCode>#,##0</c:formatCode>
                <c:ptCount val="24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C$2:$C$247</c:f>
              <c:numCache>
                <c:formatCode>#,##0</c:formatCode>
                <c:ptCount val="24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D$2:$D$247</c:f>
              <c:numCache>
                <c:formatCode>#,##0</c:formatCode>
                <c:ptCount val="2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5</c:v>
                </c:pt>
                <c:pt idx="245" formatCode="General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5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B$2:$B$247</c:f>
              <c:numCache>
                <c:formatCode>#,##0</c:formatCode>
                <c:ptCount val="24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General">
                  <c:v>49</c:v>
                </c:pt>
                <c:pt idx="244" formatCode="General">
                  <c:v>48</c:v>
                </c:pt>
                <c:pt idx="245" formatCode="General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C$2:$C$247</c:f>
              <c:numCache>
                <c:formatCode>#,##0</c:formatCode>
                <c:ptCount val="24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D$2:$D$247</c:f>
              <c:numCache>
                <c:formatCode>#,##0</c:formatCode>
                <c:ptCount val="24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4</c:v>
                </c:pt>
                <c:pt idx="208">
                  <c:v>1653</c:v>
                </c:pt>
                <c:pt idx="209">
                  <c:v>1663</c:v>
                </c:pt>
                <c:pt idx="210">
                  <c:v>1613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399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3</c:v>
                </c:pt>
                <c:pt idx="220">
                  <c:v>1235</c:v>
                </c:pt>
                <c:pt idx="221">
                  <c:v>1219</c:v>
                </c:pt>
                <c:pt idx="222">
                  <c:v>1202</c:v>
                </c:pt>
                <c:pt idx="223">
                  <c:v>1188</c:v>
                </c:pt>
                <c:pt idx="224">
                  <c:v>1159</c:v>
                </c:pt>
                <c:pt idx="225">
                  <c:v>1116</c:v>
                </c:pt>
                <c:pt idx="226">
                  <c:v>1037</c:v>
                </c:pt>
                <c:pt idx="227">
                  <c:v>1016</c:v>
                </c:pt>
                <c:pt idx="228">
                  <c:v>976</c:v>
                </c:pt>
                <c:pt idx="229">
                  <c:v>978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6</c:v>
                </c:pt>
                <c:pt idx="234">
                  <c:v>789</c:v>
                </c:pt>
                <c:pt idx="235">
                  <c:v>754</c:v>
                </c:pt>
                <c:pt idx="236">
                  <c:v>763</c:v>
                </c:pt>
                <c:pt idx="237">
                  <c:v>741</c:v>
                </c:pt>
                <c:pt idx="238">
                  <c:v>713</c:v>
                </c:pt>
                <c:pt idx="239">
                  <c:v>688</c:v>
                </c:pt>
                <c:pt idx="240">
                  <c:v>630</c:v>
                </c:pt>
                <c:pt idx="241">
                  <c:v>570</c:v>
                </c:pt>
                <c:pt idx="242">
                  <c:v>550</c:v>
                </c:pt>
                <c:pt idx="243" formatCode="General">
                  <c:v>554</c:v>
                </c:pt>
                <c:pt idx="244" formatCode="General">
                  <c:v>561</c:v>
                </c:pt>
                <c:pt idx="245" formatCode="General">
                  <c:v>5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5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B$2:$B$247</c:f>
              <c:numCache>
                <c:formatCode>#,##0</c:formatCode>
                <c:ptCount val="24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7</c:f>
              <c:numCache>
                <c:formatCode>m/d/yyyy</c:formatCode>
                <c:ptCount val="24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</c:numCache>
            </c:numRef>
          </c:cat>
          <c:val>
            <c:numRef>
              <c:f>Sheet1!$C$2:$C$247</c:f>
              <c:numCache>
                <c:formatCode>#,##0</c:formatCode>
                <c:ptCount val="24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3.xml"/><Relationship Id="rId5" Type="http://schemas.openxmlformats.org/officeDocument/2006/relationships/tags" Target="../tags/tag7.xml"/><Relationship Id="rId10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5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42718719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8178490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0257298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4541646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24141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795227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27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45</cp:revision>
  <dcterms:created xsi:type="dcterms:W3CDTF">2020-08-08T14:25:07Z</dcterms:created>
  <dcterms:modified xsi:type="dcterms:W3CDTF">2021-05-05T03:22:23Z</dcterms:modified>
</cp:coreProperties>
</file>